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</p:sldIdLst>
  <p:sldSz cx="7556500" cy="10693400"/>
  <p:notesSz cx="6858000" cy="9144000"/>
  <p:embeddedFontLst>
    <p:embeddedFont>
      <p:font typeface="Quicksand" pitchFamily="2" charset="0"/>
      <p:regular r:id="rId3"/>
      <p:bold r:id="rId4"/>
    </p:embeddedFont>
    <p:embeddedFont>
      <p:font typeface="Quicksand SemiBold" pitchFamily="2" charset="0"/>
      <p:bold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FC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91" autoAdjust="0"/>
    <p:restoredTop sz="94622" autoAdjust="0"/>
  </p:normalViewPr>
  <p:slideViewPr>
    <p:cSldViewPr>
      <p:cViewPr>
        <p:scale>
          <a:sx n="125" d="100"/>
          <a:sy n="125" d="100"/>
        </p:scale>
        <p:origin x="1188" y="3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3.fntdata"/><Relationship Id="rId4" Type="http://schemas.openxmlformats.org/officeDocument/2006/relationships/font" Target="fonts/font2.fntdata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FD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Baby shower potluck #3">
            <a:extLst>
              <a:ext uri="{FF2B5EF4-FFF2-40B4-BE49-F238E27FC236}">
                <a16:creationId xmlns:a16="http://schemas.microsoft.com/office/drawing/2014/main" id="{5FDBCD83-A2E5-9F02-9290-CAD16EC2AAE5}"/>
              </a:ext>
            </a:extLst>
          </p:cNvPr>
          <p:cNvGrpSpPr/>
          <p:nvPr/>
        </p:nvGrpSpPr>
        <p:grpSpPr>
          <a:xfrm>
            <a:off x="-234154" y="-195110"/>
            <a:ext cx="8174000" cy="11197423"/>
            <a:chOff x="-234154" y="-195110"/>
            <a:chExt cx="8174000" cy="11197423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C47AF8EA-A629-9271-4708-692E497439E2}"/>
                </a:ext>
              </a:extLst>
            </p:cNvPr>
            <p:cNvGrpSpPr/>
            <p:nvPr/>
          </p:nvGrpSpPr>
          <p:grpSpPr>
            <a:xfrm>
              <a:off x="-234154" y="-195110"/>
              <a:ext cx="8174000" cy="11197423"/>
              <a:chOff x="-234154" y="-195110"/>
              <a:chExt cx="8174000" cy="11197423"/>
            </a:xfrm>
          </p:grpSpPr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0172CEDB-3E97-4A35-A792-04325CA17A1C}"/>
                  </a:ext>
                </a:extLst>
              </p:cNvPr>
              <p:cNvSpPr/>
              <p:nvPr/>
            </p:nvSpPr>
            <p:spPr>
              <a:xfrm rot="-1417143">
                <a:off x="-99873" y="4491300"/>
                <a:ext cx="432895" cy="410857"/>
              </a:xfrm>
              <a:custGeom>
                <a:avLst/>
                <a:gdLst>
                  <a:gd name="connsiteX0" fmla="*/ 432895 w 432895"/>
                  <a:gd name="connsiteY0" fmla="*/ 0 h 410857"/>
                  <a:gd name="connsiteX1" fmla="*/ 432895 w 432895"/>
                  <a:gd name="connsiteY1" fmla="*/ 410857 h 410857"/>
                  <a:gd name="connsiteX2" fmla="*/ 0 w 432895"/>
                  <a:gd name="connsiteY2" fmla="*/ 410857 h 410857"/>
                  <a:gd name="connsiteX3" fmla="*/ 0 w 432895"/>
                  <a:gd name="connsiteY3" fmla="*/ 321176 h 410857"/>
                  <a:gd name="connsiteX4" fmla="*/ 32403 w 432895"/>
                  <a:gd name="connsiteY4" fmla="*/ 335345 h 410857"/>
                  <a:gd name="connsiteX5" fmla="*/ 179044 w 432895"/>
                  <a:gd name="connsiteY5" fmla="*/ 0 h 41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2895" h="410857">
                    <a:moveTo>
                      <a:pt x="432895" y="0"/>
                    </a:moveTo>
                    <a:lnTo>
                      <a:pt x="432895" y="410857"/>
                    </a:lnTo>
                    <a:lnTo>
                      <a:pt x="0" y="410857"/>
                    </a:lnTo>
                    <a:lnTo>
                      <a:pt x="0" y="321176"/>
                    </a:lnTo>
                    <a:lnTo>
                      <a:pt x="32403" y="335345"/>
                    </a:lnTo>
                    <a:lnTo>
                      <a:pt x="179044" y="0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3" name="Freeform 3"/>
              <p:cNvSpPr/>
              <p:nvPr/>
            </p:nvSpPr>
            <p:spPr>
              <a:xfrm rot="1422755">
                <a:off x="5441536" y="253448"/>
                <a:ext cx="391092" cy="371181"/>
              </a:xfrm>
              <a:custGeom>
                <a:avLst/>
                <a:gdLst/>
                <a:ahLst/>
                <a:cxnLst/>
                <a:rect l="l" t="t" r="r" b="b"/>
                <a:pathLst>
                  <a:path w="391092" h="371181">
                    <a:moveTo>
                      <a:pt x="0" y="0"/>
                    </a:moveTo>
                    <a:lnTo>
                      <a:pt x="391092" y="0"/>
                    </a:lnTo>
                    <a:lnTo>
                      <a:pt x="391092" y="371182"/>
                    </a:lnTo>
                    <a:lnTo>
                      <a:pt x="0" y="37118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" name="Freeform 4"/>
              <p:cNvSpPr/>
              <p:nvPr/>
            </p:nvSpPr>
            <p:spPr>
              <a:xfrm rot="1422755">
                <a:off x="5917424" y="2375153"/>
                <a:ext cx="391092" cy="371181"/>
              </a:xfrm>
              <a:custGeom>
                <a:avLst/>
                <a:gdLst/>
                <a:ahLst/>
                <a:cxnLst/>
                <a:rect l="l" t="t" r="r" b="b"/>
                <a:pathLst>
                  <a:path w="391092" h="371181">
                    <a:moveTo>
                      <a:pt x="0" y="0"/>
                    </a:moveTo>
                    <a:lnTo>
                      <a:pt x="391091" y="0"/>
                    </a:lnTo>
                    <a:lnTo>
                      <a:pt x="391091" y="371181"/>
                    </a:lnTo>
                    <a:lnTo>
                      <a:pt x="0" y="37118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" name="Freeform 5"/>
              <p:cNvSpPr/>
              <p:nvPr/>
            </p:nvSpPr>
            <p:spPr>
              <a:xfrm rot="-928599">
                <a:off x="1868296" y="2101349"/>
                <a:ext cx="307785" cy="292116"/>
              </a:xfrm>
              <a:custGeom>
                <a:avLst/>
                <a:gdLst/>
                <a:ahLst/>
                <a:cxnLst/>
                <a:rect l="l" t="t" r="r" b="b"/>
                <a:pathLst>
                  <a:path w="307785" h="292116">
                    <a:moveTo>
                      <a:pt x="0" y="0"/>
                    </a:moveTo>
                    <a:lnTo>
                      <a:pt x="307784" y="0"/>
                    </a:lnTo>
                    <a:lnTo>
                      <a:pt x="307784" y="292115"/>
                    </a:lnTo>
                    <a:lnTo>
                      <a:pt x="0" y="29211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831CDF4-4F27-1A65-E304-C4AAFCE4D23D}"/>
                  </a:ext>
                </a:extLst>
              </p:cNvPr>
              <p:cNvSpPr/>
              <p:nvPr/>
            </p:nvSpPr>
            <p:spPr>
              <a:xfrm rot="1181347">
                <a:off x="7285930" y="5383470"/>
                <a:ext cx="653916" cy="620626"/>
              </a:xfrm>
              <a:custGeom>
                <a:avLst/>
                <a:gdLst>
                  <a:gd name="connsiteX0" fmla="*/ 653913 w 653916"/>
                  <a:gd name="connsiteY0" fmla="*/ 620626 h 620626"/>
                  <a:gd name="connsiteX1" fmla="*/ 653916 w 653916"/>
                  <a:gd name="connsiteY1" fmla="*/ 620625 h 620626"/>
                  <a:gd name="connsiteX2" fmla="*/ 653916 w 653916"/>
                  <a:gd name="connsiteY2" fmla="*/ 620626 h 620626"/>
                  <a:gd name="connsiteX3" fmla="*/ 594407 w 653916"/>
                  <a:gd name="connsiteY3" fmla="*/ 0 h 620626"/>
                  <a:gd name="connsiteX4" fmla="*/ 653916 w 653916"/>
                  <a:gd name="connsiteY4" fmla="*/ 0 h 620626"/>
                  <a:gd name="connsiteX5" fmla="*/ 653916 w 653916"/>
                  <a:gd name="connsiteY5" fmla="*/ 166302 h 620626"/>
                  <a:gd name="connsiteX6" fmla="*/ 0 w 653916"/>
                  <a:gd name="connsiteY6" fmla="*/ 0 h 620626"/>
                  <a:gd name="connsiteX7" fmla="*/ 156027 w 653916"/>
                  <a:gd name="connsiteY7" fmla="*/ 0 h 620626"/>
                  <a:gd name="connsiteX8" fmla="*/ 378110 w 653916"/>
                  <a:gd name="connsiteY8" fmla="*/ 620626 h 620626"/>
                  <a:gd name="connsiteX9" fmla="*/ 0 w 653916"/>
                  <a:gd name="connsiteY9" fmla="*/ 620626 h 620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53916" h="620626">
                    <a:moveTo>
                      <a:pt x="653913" y="620626"/>
                    </a:moveTo>
                    <a:lnTo>
                      <a:pt x="653916" y="620625"/>
                    </a:lnTo>
                    <a:lnTo>
                      <a:pt x="653916" y="620626"/>
                    </a:lnTo>
                    <a:close/>
                    <a:moveTo>
                      <a:pt x="594407" y="0"/>
                    </a:moveTo>
                    <a:lnTo>
                      <a:pt x="653916" y="0"/>
                    </a:lnTo>
                    <a:lnTo>
                      <a:pt x="653916" y="166302"/>
                    </a:lnTo>
                    <a:close/>
                    <a:moveTo>
                      <a:pt x="0" y="0"/>
                    </a:moveTo>
                    <a:lnTo>
                      <a:pt x="156027" y="0"/>
                    </a:lnTo>
                    <a:lnTo>
                      <a:pt x="378110" y="620626"/>
                    </a:lnTo>
                    <a:lnTo>
                      <a:pt x="0" y="620626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4F14DC2E-9B12-B5AC-D7A1-E4FC7562C74A}"/>
                  </a:ext>
                </a:extLst>
              </p:cNvPr>
              <p:cNvSpPr/>
              <p:nvPr/>
            </p:nvSpPr>
            <p:spPr>
              <a:xfrm rot="1181347">
                <a:off x="-234154" y="7306448"/>
                <a:ext cx="653916" cy="620627"/>
              </a:xfrm>
              <a:custGeom>
                <a:avLst/>
                <a:gdLst>
                  <a:gd name="connsiteX0" fmla="*/ 0 w 653916"/>
                  <a:gd name="connsiteY0" fmla="*/ 444803 h 620627"/>
                  <a:gd name="connsiteX1" fmla="*/ 62917 w 653916"/>
                  <a:gd name="connsiteY1" fmla="*/ 620627 h 620627"/>
                  <a:gd name="connsiteX2" fmla="*/ 0 w 653916"/>
                  <a:gd name="connsiteY2" fmla="*/ 620627 h 620627"/>
                  <a:gd name="connsiteX3" fmla="*/ 0 w 653916"/>
                  <a:gd name="connsiteY3" fmla="*/ 0 h 620627"/>
                  <a:gd name="connsiteX4" fmla="*/ 653916 w 653916"/>
                  <a:gd name="connsiteY4" fmla="*/ 0 h 620627"/>
                  <a:gd name="connsiteX5" fmla="*/ 653916 w 653916"/>
                  <a:gd name="connsiteY5" fmla="*/ 620627 h 620627"/>
                  <a:gd name="connsiteX6" fmla="*/ 185580 w 653916"/>
                  <a:gd name="connsiteY6" fmla="*/ 620627 h 620627"/>
                  <a:gd name="connsiteX7" fmla="*/ 321969 w 653916"/>
                  <a:gd name="connsiteY7" fmla="*/ 571822 h 620627"/>
                  <a:gd name="connsiteX8" fmla="*/ 142257 w 653916"/>
                  <a:gd name="connsiteY8" fmla="*/ 69607 h 620627"/>
                  <a:gd name="connsiteX9" fmla="*/ 0 w 653916"/>
                  <a:gd name="connsiteY9" fmla="*/ 120512 h 620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53916" h="620627">
                    <a:moveTo>
                      <a:pt x="0" y="444803"/>
                    </a:moveTo>
                    <a:lnTo>
                      <a:pt x="62917" y="620627"/>
                    </a:lnTo>
                    <a:lnTo>
                      <a:pt x="0" y="620627"/>
                    </a:lnTo>
                    <a:close/>
                    <a:moveTo>
                      <a:pt x="0" y="0"/>
                    </a:moveTo>
                    <a:lnTo>
                      <a:pt x="653916" y="0"/>
                    </a:lnTo>
                    <a:lnTo>
                      <a:pt x="653916" y="620627"/>
                    </a:lnTo>
                    <a:lnTo>
                      <a:pt x="185580" y="620627"/>
                    </a:lnTo>
                    <a:lnTo>
                      <a:pt x="321969" y="571822"/>
                    </a:lnTo>
                    <a:lnTo>
                      <a:pt x="142257" y="69607"/>
                    </a:lnTo>
                    <a:lnTo>
                      <a:pt x="0" y="120512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4FEE6B25-2ED6-622F-5C3E-126477B1B1BD}"/>
                  </a:ext>
                </a:extLst>
              </p:cNvPr>
              <p:cNvSpPr/>
              <p:nvPr/>
            </p:nvSpPr>
            <p:spPr>
              <a:xfrm rot="-1358388">
                <a:off x="1754767" y="-195110"/>
                <a:ext cx="653916" cy="620626"/>
              </a:xfrm>
              <a:custGeom>
                <a:avLst/>
                <a:gdLst>
                  <a:gd name="connsiteX0" fmla="*/ 188950 w 653916"/>
                  <a:gd name="connsiteY0" fmla="*/ 0 h 620626"/>
                  <a:gd name="connsiteX1" fmla="*/ 143499 w 653916"/>
                  <a:gd name="connsiteY1" fmla="*/ 108976 h 620626"/>
                  <a:gd name="connsiteX2" fmla="*/ 653916 w 653916"/>
                  <a:gd name="connsiteY2" fmla="*/ 321858 h 620626"/>
                  <a:gd name="connsiteX3" fmla="*/ 653916 w 653916"/>
                  <a:gd name="connsiteY3" fmla="*/ 620626 h 620626"/>
                  <a:gd name="connsiteX4" fmla="*/ 0 w 653916"/>
                  <a:gd name="connsiteY4" fmla="*/ 620626 h 620626"/>
                  <a:gd name="connsiteX5" fmla="*/ 0 w 653916"/>
                  <a:gd name="connsiteY5" fmla="*/ 0 h 620626"/>
                  <a:gd name="connsiteX6" fmla="*/ 653916 w 653916"/>
                  <a:gd name="connsiteY6" fmla="*/ 0 h 620626"/>
                  <a:gd name="connsiteX7" fmla="*/ 653916 w 653916"/>
                  <a:gd name="connsiteY7" fmla="*/ 87932 h 620626"/>
                  <a:gd name="connsiteX8" fmla="*/ 443086 w 653916"/>
                  <a:gd name="connsiteY8" fmla="*/ 0 h 620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3916" h="620626">
                    <a:moveTo>
                      <a:pt x="188950" y="0"/>
                    </a:moveTo>
                    <a:lnTo>
                      <a:pt x="143499" y="108976"/>
                    </a:lnTo>
                    <a:lnTo>
                      <a:pt x="653916" y="321858"/>
                    </a:lnTo>
                    <a:lnTo>
                      <a:pt x="653916" y="620626"/>
                    </a:lnTo>
                    <a:lnTo>
                      <a:pt x="0" y="620626"/>
                    </a:lnTo>
                    <a:lnTo>
                      <a:pt x="0" y="0"/>
                    </a:lnTo>
                    <a:close/>
                    <a:moveTo>
                      <a:pt x="653916" y="0"/>
                    </a:moveTo>
                    <a:lnTo>
                      <a:pt x="653916" y="87932"/>
                    </a:lnTo>
                    <a:lnTo>
                      <a:pt x="443086" y="0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79E27E19-C22B-3C65-1190-F3E385584F88}"/>
                  </a:ext>
                </a:extLst>
              </p:cNvPr>
              <p:cNvSpPr/>
              <p:nvPr/>
            </p:nvSpPr>
            <p:spPr>
              <a:xfrm rot="1181347">
                <a:off x="1212197" y="10381687"/>
                <a:ext cx="653916" cy="620626"/>
              </a:xfrm>
              <a:custGeom>
                <a:avLst/>
                <a:gdLst>
                  <a:gd name="connsiteX0" fmla="*/ 557073 w 653916"/>
                  <a:gd name="connsiteY0" fmla="*/ 620626 h 620626"/>
                  <a:gd name="connsiteX1" fmla="*/ 653916 w 653916"/>
                  <a:gd name="connsiteY1" fmla="*/ 585972 h 620626"/>
                  <a:gd name="connsiteX2" fmla="*/ 653916 w 653916"/>
                  <a:gd name="connsiteY2" fmla="*/ 620626 h 620626"/>
                  <a:gd name="connsiteX3" fmla="*/ 0 w 653916"/>
                  <a:gd name="connsiteY3" fmla="*/ 440502 h 620626"/>
                  <a:gd name="connsiteX4" fmla="*/ 64455 w 653916"/>
                  <a:gd name="connsiteY4" fmla="*/ 620626 h 620626"/>
                  <a:gd name="connsiteX5" fmla="*/ 0 w 653916"/>
                  <a:gd name="connsiteY5" fmla="*/ 620626 h 620626"/>
                  <a:gd name="connsiteX6" fmla="*/ 0 w 653916"/>
                  <a:gd name="connsiteY6" fmla="*/ 0 h 620626"/>
                  <a:gd name="connsiteX7" fmla="*/ 653916 w 653916"/>
                  <a:gd name="connsiteY7" fmla="*/ 0 h 620626"/>
                  <a:gd name="connsiteX8" fmla="*/ 653916 w 653916"/>
                  <a:gd name="connsiteY8" fmla="*/ 232395 h 620626"/>
                  <a:gd name="connsiteX9" fmla="*/ 642589 w 653916"/>
                  <a:gd name="connsiteY9" fmla="*/ 200741 h 620626"/>
                  <a:gd name="connsiteX10" fmla="*/ 0 w 653916"/>
                  <a:gd name="connsiteY10" fmla="*/ 430683 h 620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53916" h="620626">
                    <a:moveTo>
                      <a:pt x="557073" y="620626"/>
                    </a:moveTo>
                    <a:lnTo>
                      <a:pt x="653916" y="585972"/>
                    </a:lnTo>
                    <a:lnTo>
                      <a:pt x="653916" y="620626"/>
                    </a:lnTo>
                    <a:close/>
                    <a:moveTo>
                      <a:pt x="0" y="440502"/>
                    </a:moveTo>
                    <a:lnTo>
                      <a:pt x="64455" y="620626"/>
                    </a:lnTo>
                    <a:lnTo>
                      <a:pt x="0" y="620626"/>
                    </a:lnTo>
                    <a:close/>
                    <a:moveTo>
                      <a:pt x="0" y="0"/>
                    </a:moveTo>
                    <a:lnTo>
                      <a:pt x="653916" y="0"/>
                    </a:lnTo>
                    <a:lnTo>
                      <a:pt x="653916" y="232395"/>
                    </a:lnTo>
                    <a:lnTo>
                      <a:pt x="642589" y="200741"/>
                    </a:lnTo>
                    <a:lnTo>
                      <a:pt x="0" y="430683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0"/>
              <p:cNvSpPr/>
              <p:nvPr/>
            </p:nvSpPr>
            <p:spPr>
              <a:xfrm rot="1181347">
                <a:off x="6875599" y="8631950"/>
                <a:ext cx="548024" cy="520125"/>
              </a:xfrm>
              <a:custGeom>
                <a:avLst/>
                <a:gdLst/>
                <a:ahLst/>
                <a:cxnLst/>
                <a:rect l="l" t="t" r="r" b="b"/>
                <a:pathLst>
                  <a:path w="548024" h="520125">
                    <a:moveTo>
                      <a:pt x="0" y="0"/>
                    </a:moveTo>
                    <a:lnTo>
                      <a:pt x="548024" y="0"/>
                    </a:lnTo>
                    <a:lnTo>
                      <a:pt x="548024" y="520124"/>
                    </a:lnTo>
                    <a:lnTo>
                      <a:pt x="0" y="52012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D908D80A-60BB-5FE1-FA0B-B915F11AE7D4}"/>
                  </a:ext>
                </a:extLst>
              </p:cNvPr>
              <p:cNvSpPr/>
              <p:nvPr/>
            </p:nvSpPr>
            <p:spPr>
              <a:xfrm rot="1181347">
                <a:off x="5017459" y="10366786"/>
                <a:ext cx="548024" cy="520125"/>
              </a:xfrm>
              <a:custGeom>
                <a:avLst/>
                <a:gdLst>
                  <a:gd name="connsiteX0" fmla="*/ 0 w 548024"/>
                  <a:gd name="connsiteY0" fmla="*/ 0 h 520125"/>
                  <a:gd name="connsiteX1" fmla="*/ 548024 w 548024"/>
                  <a:gd name="connsiteY1" fmla="*/ 0 h 520125"/>
                  <a:gd name="connsiteX2" fmla="*/ 548024 w 548024"/>
                  <a:gd name="connsiteY2" fmla="*/ 231208 h 520125"/>
                  <a:gd name="connsiteX3" fmla="*/ 19132 w 548024"/>
                  <a:gd name="connsiteY3" fmla="*/ 420465 h 520125"/>
                  <a:gd name="connsiteX4" fmla="*/ 54794 w 548024"/>
                  <a:gd name="connsiteY4" fmla="*/ 520125 h 520125"/>
                  <a:gd name="connsiteX5" fmla="*/ 0 w 548024"/>
                  <a:gd name="connsiteY5" fmla="*/ 520125 h 52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8024" h="520125">
                    <a:moveTo>
                      <a:pt x="0" y="0"/>
                    </a:moveTo>
                    <a:lnTo>
                      <a:pt x="548024" y="0"/>
                    </a:lnTo>
                    <a:lnTo>
                      <a:pt x="548024" y="231208"/>
                    </a:lnTo>
                    <a:lnTo>
                      <a:pt x="19132" y="420465"/>
                    </a:lnTo>
                    <a:lnTo>
                      <a:pt x="54794" y="520125"/>
                    </a:lnTo>
                    <a:lnTo>
                      <a:pt x="0" y="520125"/>
                    </a:lnTo>
                    <a:close/>
                  </a:path>
                </a:pathLst>
              </a:custGeom>
              <a:blipFill>
                <a:blip r:embed="rId3">
                  <a:alphaModFix amt="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7C5B8E65-2CD2-0359-A95A-18BFE0FD364C}"/>
                </a:ext>
              </a:extLst>
            </p:cNvPr>
            <p:cNvGrpSpPr/>
            <p:nvPr/>
          </p:nvGrpSpPr>
          <p:grpSpPr>
            <a:xfrm>
              <a:off x="503446" y="2646469"/>
              <a:ext cx="6549608" cy="7540335"/>
              <a:chOff x="503446" y="2646469"/>
              <a:chExt cx="6549608" cy="7540335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503446" y="2646469"/>
                <a:ext cx="6549608" cy="7540335"/>
              </a:xfrm>
              <a:prstGeom prst="roundRect">
                <a:avLst>
                  <a:gd name="adj" fmla="val 2678"/>
                </a:avLst>
              </a:prstGeom>
              <a:solidFill>
                <a:srgbClr val="FFFFFF"/>
              </a:solidFill>
              <a:ln w="9525" cap="sq">
                <a:solidFill>
                  <a:srgbClr val="91C7D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A1A045B3-8EDE-FFC9-1BE7-8FC8F91A2745}"/>
                  </a:ext>
                </a:extLst>
              </p:cNvPr>
              <p:cNvGrpSpPr/>
              <p:nvPr/>
            </p:nvGrpSpPr>
            <p:grpSpPr>
              <a:xfrm>
                <a:off x="802950" y="2990974"/>
                <a:ext cx="1809440" cy="6797254"/>
                <a:chOff x="804700" y="2990974"/>
                <a:chExt cx="1809440" cy="6797254"/>
              </a:xfrm>
            </p:grpSpPr>
            <p:sp>
              <p:nvSpPr>
                <p:cNvPr id="16" name="AutoShape 16"/>
                <p:cNvSpPr/>
                <p:nvPr/>
              </p:nvSpPr>
              <p:spPr>
                <a:xfrm>
                  <a:off x="804700" y="3788390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9" name="AutoShape 19"/>
                <p:cNvSpPr/>
                <p:nvPr/>
              </p:nvSpPr>
              <p:spPr>
                <a:xfrm>
                  <a:off x="804700" y="421694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" name="AutoShape 22"/>
                <p:cNvSpPr/>
                <p:nvPr/>
              </p:nvSpPr>
              <p:spPr>
                <a:xfrm>
                  <a:off x="804700" y="464550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5" name="AutoShape 25"/>
                <p:cNvSpPr/>
                <p:nvPr/>
              </p:nvSpPr>
              <p:spPr>
                <a:xfrm>
                  <a:off x="804700" y="507406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8" name="AutoShape 28"/>
                <p:cNvSpPr/>
                <p:nvPr/>
              </p:nvSpPr>
              <p:spPr>
                <a:xfrm>
                  <a:off x="804700" y="550262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1" name="AutoShape 31"/>
                <p:cNvSpPr/>
                <p:nvPr/>
              </p:nvSpPr>
              <p:spPr>
                <a:xfrm>
                  <a:off x="804700" y="593118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4" name="AutoShape 34"/>
                <p:cNvSpPr/>
                <p:nvPr/>
              </p:nvSpPr>
              <p:spPr>
                <a:xfrm>
                  <a:off x="804700" y="635974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7" name="AutoShape 37"/>
                <p:cNvSpPr/>
                <p:nvPr/>
              </p:nvSpPr>
              <p:spPr>
                <a:xfrm>
                  <a:off x="804700" y="678830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0" name="AutoShape 40"/>
                <p:cNvSpPr/>
                <p:nvPr/>
              </p:nvSpPr>
              <p:spPr>
                <a:xfrm>
                  <a:off x="804700" y="721686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3" name="AutoShape 43"/>
                <p:cNvSpPr/>
                <p:nvPr/>
              </p:nvSpPr>
              <p:spPr>
                <a:xfrm>
                  <a:off x="804700" y="764542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6" name="AutoShape 46"/>
                <p:cNvSpPr/>
                <p:nvPr/>
              </p:nvSpPr>
              <p:spPr>
                <a:xfrm>
                  <a:off x="804700" y="807398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9" name="AutoShape 49"/>
                <p:cNvSpPr/>
                <p:nvPr/>
              </p:nvSpPr>
              <p:spPr>
                <a:xfrm>
                  <a:off x="804700" y="850254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2" name="AutoShape 52"/>
                <p:cNvSpPr/>
                <p:nvPr/>
              </p:nvSpPr>
              <p:spPr>
                <a:xfrm>
                  <a:off x="804700" y="893110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5" name="AutoShape 55"/>
                <p:cNvSpPr/>
                <p:nvPr/>
              </p:nvSpPr>
              <p:spPr>
                <a:xfrm>
                  <a:off x="804700" y="935966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8" name="AutoShape 58"/>
                <p:cNvSpPr/>
                <p:nvPr/>
              </p:nvSpPr>
              <p:spPr>
                <a:xfrm>
                  <a:off x="804700" y="978822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2" name="Freeform 62"/>
                <p:cNvSpPr/>
                <p:nvPr/>
              </p:nvSpPr>
              <p:spPr>
                <a:xfrm>
                  <a:off x="804700" y="2990974"/>
                  <a:ext cx="1809440" cy="401440"/>
                </a:xfrm>
                <a:prstGeom prst="roundRect">
                  <a:avLst>
                    <a:gd name="adj" fmla="val 27740"/>
                  </a:avLst>
                </a:prstGeom>
                <a:solidFill>
                  <a:srgbClr val="0097B2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3" name="TextBox 73"/>
                <p:cNvSpPr txBox="1"/>
                <p:nvPr/>
              </p:nvSpPr>
              <p:spPr>
                <a:xfrm>
                  <a:off x="1126617" y="3114814"/>
                  <a:ext cx="1165606" cy="15376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/>
                  <a:r>
                    <a:rPr lang="en-US" sz="999" b="1" spc="74" dirty="0">
                      <a:solidFill>
                        <a:srgbClr val="0097B2"/>
                      </a:solidFill>
                      <a:latin typeface="Quicksand" pitchFamily="2" charset="0"/>
                    </a:rPr>
                    <a:t>NAME</a:t>
                  </a:r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D8F946DF-793D-67D1-8E32-9D3A52BE21A0}"/>
                  </a:ext>
                </a:extLst>
              </p:cNvPr>
              <p:cNvGrpSpPr/>
              <p:nvPr/>
            </p:nvGrpSpPr>
            <p:grpSpPr>
              <a:xfrm>
                <a:off x="2873530" y="2990974"/>
                <a:ext cx="1809440" cy="6797254"/>
                <a:chOff x="2875280" y="2990974"/>
                <a:chExt cx="1809440" cy="6797254"/>
              </a:xfrm>
            </p:grpSpPr>
            <p:sp>
              <p:nvSpPr>
                <p:cNvPr id="17" name="AutoShape 17"/>
                <p:cNvSpPr/>
                <p:nvPr/>
              </p:nvSpPr>
              <p:spPr>
                <a:xfrm>
                  <a:off x="2875280" y="3788390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0" name="AutoShape 20"/>
                <p:cNvSpPr/>
                <p:nvPr/>
              </p:nvSpPr>
              <p:spPr>
                <a:xfrm>
                  <a:off x="2875280" y="421694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" name="AutoShape 23"/>
                <p:cNvSpPr/>
                <p:nvPr/>
              </p:nvSpPr>
              <p:spPr>
                <a:xfrm>
                  <a:off x="2875280" y="464550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6" name="AutoShape 26"/>
                <p:cNvSpPr/>
                <p:nvPr/>
              </p:nvSpPr>
              <p:spPr>
                <a:xfrm>
                  <a:off x="2875280" y="507406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" name="AutoShape 29"/>
                <p:cNvSpPr/>
                <p:nvPr/>
              </p:nvSpPr>
              <p:spPr>
                <a:xfrm>
                  <a:off x="2875280" y="550262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" name="AutoShape 32"/>
                <p:cNvSpPr/>
                <p:nvPr/>
              </p:nvSpPr>
              <p:spPr>
                <a:xfrm>
                  <a:off x="2875280" y="593118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5" name="AutoShape 35"/>
                <p:cNvSpPr/>
                <p:nvPr/>
              </p:nvSpPr>
              <p:spPr>
                <a:xfrm>
                  <a:off x="2875280" y="635974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8" name="AutoShape 38"/>
                <p:cNvSpPr/>
                <p:nvPr/>
              </p:nvSpPr>
              <p:spPr>
                <a:xfrm>
                  <a:off x="2875280" y="678830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1" name="AutoShape 41"/>
                <p:cNvSpPr/>
                <p:nvPr/>
              </p:nvSpPr>
              <p:spPr>
                <a:xfrm>
                  <a:off x="2875280" y="721686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4" name="AutoShape 44"/>
                <p:cNvSpPr/>
                <p:nvPr/>
              </p:nvSpPr>
              <p:spPr>
                <a:xfrm>
                  <a:off x="2875280" y="764542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7" name="AutoShape 47"/>
                <p:cNvSpPr/>
                <p:nvPr/>
              </p:nvSpPr>
              <p:spPr>
                <a:xfrm>
                  <a:off x="2875280" y="807398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0" name="AutoShape 50"/>
                <p:cNvSpPr/>
                <p:nvPr/>
              </p:nvSpPr>
              <p:spPr>
                <a:xfrm>
                  <a:off x="2875280" y="850254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3" name="AutoShape 53"/>
                <p:cNvSpPr/>
                <p:nvPr/>
              </p:nvSpPr>
              <p:spPr>
                <a:xfrm>
                  <a:off x="2875280" y="893110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6" name="AutoShape 56"/>
                <p:cNvSpPr/>
                <p:nvPr/>
              </p:nvSpPr>
              <p:spPr>
                <a:xfrm>
                  <a:off x="2875280" y="935966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9" name="AutoShape 59"/>
                <p:cNvSpPr/>
                <p:nvPr/>
              </p:nvSpPr>
              <p:spPr>
                <a:xfrm>
                  <a:off x="2875280" y="978822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5" name="Freeform 65"/>
                <p:cNvSpPr/>
                <p:nvPr/>
              </p:nvSpPr>
              <p:spPr>
                <a:xfrm>
                  <a:off x="2875280" y="2990974"/>
                  <a:ext cx="1809440" cy="401440"/>
                </a:xfrm>
                <a:prstGeom prst="roundRect">
                  <a:avLst>
                    <a:gd name="adj" fmla="val 29321"/>
                  </a:avLst>
                </a:prstGeom>
                <a:solidFill>
                  <a:srgbClr val="0097B2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4" name="TextBox 74"/>
                <p:cNvSpPr txBox="1"/>
                <p:nvPr/>
              </p:nvSpPr>
              <p:spPr>
                <a:xfrm>
                  <a:off x="3197197" y="3114814"/>
                  <a:ext cx="1165606" cy="15376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spcBef>
                      <a:spcPct val="0"/>
                    </a:spcBef>
                  </a:pPr>
                  <a:r>
                    <a:rPr lang="en-US" sz="999" b="1" spc="74" dirty="0">
                      <a:solidFill>
                        <a:srgbClr val="0097B2"/>
                      </a:solidFill>
                      <a:latin typeface="Quicksand" pitchFamily="2" charset="0"/>
                    </a:rPr>
                    <a:t>PHONE</a:t>
                  </a: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B09ACB2A-535A-9739-F1BD-8BA84D15ABB2}"/>
                  </a:ext>
                </a:extLst>
              </p:cNvPr>
              <p:cNvGrpSpPr/>
              <p:nvPr/>
            </p:nvGrpSpPr>
            <p:grpSpPr>
              <a:xfrm>
                <a:off x="4944110" y="2990974"/>
                <a:ext cx="1809440" cy="6797254"/>
                <a:chOff x="4945860" y="2990974"/>
                <a:chExt cx="1809440" cy="6797254"/>
              </a:xfrm>
            </p:grpSpPr>
            <p:sp>
              <p:nvSpPr>
                <p:cNvPr id="18" name="AutoShape 18"/>
                <p:cNvSpPr/>
                <p:nvPr/>
              </p:nvSpPr>
              <p:spPr>
                <a:xfrm>
                  <a:off x="4945860" y="3788390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" name="AutoShape 21"/>
                <p:cNvSpPr/>
                <p:nvPr/>
              </p:nvSpPr>
              <p:spPr>
                <a:xfrm>
                  <a:off x="4945860" y="421694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" name="AutoShape 24"/>
                <p:cNvSpPr/>
                <p:nvPr/>
              </p:nvSpPr>
              <p:spPr>
                <a:xfrm>
                  <a:off x="4945860" y="464550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7" name="AutoShape 27"/>
                <p:cNvSpPr/>
                <p:nvPr/>
              </p:nvSpPr>
              <p:spPr>
                <a:xfrm>
                  <a:off x="4945860" y="507406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0" name="AutoShape 30"/>
                <p:cNvSpPr/>
                <p:nvPr/>
              </p:nvSpPr>
              <p:spPr>
                <a:xfrm>
                  <a:off x="4945860" y="550262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" name="AutoShape 33"/>
                <p:cNvSpPr/>
                <p:nvPr/>
              </p:nvSpPr>
              <p:spPr>
                <a:xfrm>
                  <a:off x="4945860" y="593118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6" name="AutoShape 36"/>
                <p:cNvSpPr/>
                <p:nvPr/>
              </p:nvSpPr>
              <p:spPr>
                <a:xfrm>
                  <a:off x="4945860" y="635974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9" name="AutoShape 39"/>
                <p:cNvSpPr/>
                <p:nvPr/>
              </p:nvSpPr>
              <p:spPr>
                <a:xfrm>
                  <a:off x="4945860" y="678830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2" name="AutoShape 42"/>
                <p:cNvSpPr/>
                <p:nvPr/>
              </p:nvSpPr>
              <p:spPr>
                <a:xfrm>
                  <a:off x="4945860" y="721686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5" name="AutoShape 45"/>
                <p:cNvSpPr/>
                <p:nvPr/>
              </p:nvSpPr>
              <p:spPr>
                <a:xfrm>
                  <a:off x="4945860" y="764542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8" name="AutoShape 48"/>
                <p:cNvSpPr/>
                <p:nvPr/>
              </p:nvSpPr>
              <p:spPr>
                <a:xfrm>
                  <a:off x="4945860" y="8073989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1" name="AutoShape 51"/>
                <p:cNvSpPr/>
                <p:nvPr/>
              </p:nvSpPr>
              <p:spPr>
                <a:xfrm>
                  <a:off x="4945860" y="850254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4" name="AutoShape 54"/>
                <p:cNvSpPr/>
                <p:nvPr/>
              </p:nvSpPr>
              <p:spPr>
                <a:xfrm>
                  <a:off x="4945860" y="893110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7" name="AutoShape 57"/>
                <p:cNvSpPr/>
                <p:nvPr/>
              </p:nvSpPr>
              <p:spPr>
                <a:xfrm>
                  <a:off x="4945860" y="935966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0" name="AutoShape 60"/>
                <p:cNvSpPr/>
                <p:nvPr/>
              </p:nvSpPr>
              <p:spPr>
                <a:xfrm>
                  <a:off x="4945860" y="9788228"/>
                  <a:ext cx="1809440" cy="0"/>
                </a:xfrm>
                <a:prstGeom prst="line">
                  <a:avLst/>
                </a:prstGeom>
                <a:ln w="6350" cap="rnd">
                  <a:solidFill>
                    <a:srgbClr val="B6D4DD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8" name="Freeform 68"/>
                <p:cNvSpPr/>
                <p:nvPr/>
              </p:nvSpPr>
              <p:spPr>
                <a:xfrm>
                  <a:off x="4945860" y="2990974"/>
                  <a:ext cx="1809440" cy="401440"/>
                </a:xfrm>
                <a:prstGeom prst="roundRect">
                  <a:avLst>
                    <a:gd name="adj" fmla="val 27740"/>
                  </a:avLst>
                </a:prstGeom>
                <a:solidFill>
                  <a:srgbClr val="0097B2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5" name="TextBox 75"/>
                <p:cNvSpPr txBox="1"/>
                <p:nvPr/>
              </p:nvSpPr>
              <p:spPr>
                <a:xfrm>
                  <a:off x="5267777" y="3114814"/>
                  <a:ext cx="1165606" cy="15376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spcBef>
                      <a:spcPct val="0"/>
                    </a:spcBef>
                  </a:pPr>
                  <a:r>
                    <a:rPr lang="en-US" sz="999" b="1" spc="74" dirty="0">
                      <a:solidFill>
                        <a:srgbClr val="0097B2"/>
                      </a:solidFill>
                      <a:latin typeface="Quicksand" pitchFamily="2" charset="0"/>
                    </a:rPr>
                    <a:t>WILL BRING</a:t>
                  </a:r>
                </a:p>
              </p:txBody>
            </p:sp>
          </p:grp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F14BDF62-CBF1-7E50-3866-B3C434A16487}"/>
                </a:ext>
              </a:extLst>
            </p:cNvPr>
            <p:cNvGrpSpPr/>
            <p:nvPr/>
          </p:nvGrpSpPr>
          <p:grpSpPr>
            <a:xfrm>
              <a:off x="446078" y="585176"/>
              <a:ext cx="6667844" cy="1597294"/>
              <a:chOff x="446078" y="585176"/>
              <a:chExt cx="6667844" cy="1597294"/>
            </a:xfrm>
          </p:grpSpPr>
          <p:sp>
            <p:nvSpPr>
              <p:cNvPr id="71" name="Freeform 71"/>
              <p:cNvSpPr/>
              <p:nvPr/>
            </p:nvSpPr>
            <p:spPr>
              <a:xfrm>
                <a:off x="446078" y="585176"/>
                <a:ext cx="1263314" cy="1597294"/>
              </a:xfrm>
              <a:custGeom>
                <a:avLst/>
                <a:gdLst/>
                <a:ahLst/>
                <a:cxnLst/>
                <a:rect l="l" t="t" r="r" b="b"/>
                <a:pathLst>
                  <a:path w="1263314" h="1597294">
                    <a:moveTo>
                      <a:pt x="0" y="0"/>
                    </a:moveTo>
                    <a:lnTo>
                      <a:pt x="1263314" y="0"/>
                    </a:lnTo>
                    <a:lnTo>
                      <a:pt x="1263314" y="1597294"/>
                    </a:lnTo>
                    <a:lnTo>
                      <a:pt x="0" y="159729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2" name="Freeform 72"/>
              <p:cNvSpPr/>
              <p:nvPr/>
            </p:nvSpPr>
            <p:spPr>
              <a:xfrm flipH="1">
                <a:off x="5850608" y="585176"/>
                <a:ext cx="1263314" cy="1597294"/>
              </a:xfrm>
              <a:custGeom>
                <a:avLst/>
                <a:gdLst/>
                <a:ahLst/>
                <a:cxnLst/>
                <a:rect l="l" t="t" r="r" b="b"/>
                <a:pathLst>
                  <a:path w="1263314" h="1597294">
                    <a:moveTo>
                      <a:pt x="1263314" y="0"/>
                    </a:moveTo>
                    <a:lnTo>
                      <a:pt x="0" y="0"/>
                    </a:lnTo>
                    <a:lnTo>
                      <a:pt x="0" y="1597294"/>
                    </a:lnTo>
                    <a:lnTo>
                      <a:pt x="1263314" y="1597294"/>
                    </a:lnTo>
                    <a:lnTo>
                      <a:pt x="1263314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6" name="TextBox 76"/>
              <p:cNvSpPr txBox="1"/>
              <p:nvPr/>
            </p:nvSpPr>
            <p:spPr>
              <a:xfrm>
                <a:off x="1669246" y="947561"/>
                <a:ext cx="4221508" cy="61555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3950" b="1" u="none" strike="noStrike" spc="-122" dirty="0">
                    <a:solidFill>
                      <a:srgbClr val="0097B2"/>
                    </a:solidFill>
                    <a:latin typeface="Quicksand" pitchFamily="2" charset="0"/>
                  </a:rPr>
                  <a:t>BABY SHOWER</a:t>
                </a:r>
              </a:p>
            </p:txBody>
          </p:sp>
          <p:sp>
            <p:nvSpPr>
              <p:cNvPr id="77" name="TextBox 77"/>
              <p:cNvSpPr txBox="1"/>
              <p:nvPr/>
            </p:nvSpPr>
            <p:spPr>
              <a:xfrm>
                <a:off x="2394172" y="1466187"/>
                <a:ext cx="2771656" cy="6095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3950" b="1" u="none" strike="noStrike" spc="-122" dirty="0">
                    <a:solidFill>
                      <a:srgbClr val="0097B2"/>
                    </a:solidFill>
                    <a:latin typeface="Quicksand" pitchFamily="2" charset="0"/>
                  </a:rPr>
                  <a:t>POTLUCK</a:t>
                </a:r>
              </a:p>
            </p:txBody>
          </p:sp>
          <p:sp>
            <p:nvSpPr>
              <p:cNvPr id="78" name="TextBox 78"/>
              <p:cNvSpPr txBox="1"/>
              <p:nvPr/>
            </p:nvSpPr>
            <p:spPr>
              <a:xfrm>
                <a:off x="3223460" y="736950"/>
                <a:ext cx="1113080" cy="1516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56"/>
                  </a:lnSpc>
                  <a:spcBef>
                    <a:spcPct val="0"/>
                  </a:spcBef>
                </a:pPr>
                <a:r>
                  <a:rPr lang="en-US" sz="897" spc="42" dirty="0">
                    <a:solidFill>
                      <a:srgbClr val="0097B2">
                        <a:alpha val="80000"/>
                      </a:srgbClr>
                    </a:solidFill>
                    <a:latin typeface="Quicksand SemiBold" pitchFamily="2" charset="0"/>
                  </a:rPr>
                  <a:t>SIGN UP SHEET</a:t>
                </a:r>
              </a:p>
            </p:txBody>
          </p:sp>
        </p:grpSp>
        <p:sp>
          <p:nvSpPr>
            <p:cNvPr id="70" name="QuickSignup"/>
            <p:cNvSpPr/>
            <p:nvPr/>
          </p:nvSpPr>
          <p:spPr>
            <a:xfrm>
              <a:off x="3447798" y="10353429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2" y="0"/>
                  </a:lnTo>
                  <a:lnTo>
                    <a:pt x="660902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alphaModFix amt="70000"/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</TotalTime>
  <Words>10</Words>
  <Application>Microsoft Office PowerPoint</Application>
  <PresentationFormat>Custom</PresentationFormat>
  <Paragraphs>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Quicksand SemiBold</vt:lpstr>
      <vt:lpstr>Calibri</vt:lpstr>
      <vt:lpstr>Arial</vt:lpstr>
      <vt:lpstr>Quicksand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Portrait)</dc:title>
  <dc:creator>Hoang Anh</dc:creator>
  <cp:lastModifiedBy>Anh Hoang</cp:lastModifiedBy>
  <cp:revision>44</cp:revision>
  <dcterms:created xsi:type="dcterms:W3CDTF">2006-08-16T00:00:00Z</dcterms:created>
  <dcterms:modified xsi:type="dcterms:W3CDTF">2024-06-21T09:56:39Z</dcterms:modified>
  <dc:identifier>DAGIuti-Arg</dc:identifier>
</cp:coreProperties>
</file>